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tags/tag121.xml" ContentType="application/vnd.openxmlformats-officedocument.presentationml.tags+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tags/tag122.xml" ContentType="application/vnd.openxmlformats-officedocument.presentationml.tags+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tags/tag123.xml" ContentType="application/vnd.openxmlformats-officedocument.presentationml.tags+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124.xml" ContentType="application/vnd.openxmlformats-officedocument.presentationml.tags+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tags/tag125.xml" ContentType="application/vnd.openxmlformats-officedocument.presentationml.tags+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tags/tag126.xml" ContentType="application/vnd.openxmlformats-officedocument.presentationml.tags+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0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Pack Count Bracket" id="{6010F9DD-DE00-4A60-A1AB-7E52E2EFC419}">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theme" Target="theme/theme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tableStyles" Target="tableStyle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microsoft.com/office/2015/10/relationships/revisionInfo" Target="revisionInfo.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microsoft.com/office/2018/10/relationships/authors" Targe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5.4508642763262975E-3</c:v>
                </c:pt>
                <c:pt idx="3">
                  <c:v>0.994549017129398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916810284987386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5.4438182071473327E-3</c:v>
                </c:pt>
                <c:pt idx="3">
                  <c:v>0.4518387663832789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67762031151385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2.736990938167081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7.0460691789642267E-6</c:v>
                </c:pt>
                <c:pt idx="3">
                  <c:v>0.4393960353994366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624183412015516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06867210901656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535407092821767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2.968241411580580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818544699341648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9814295835819224E-2</c:v>
                </c:pt>
                <c:pt idx="3">
                  <c:v>0.9701850975307599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602398526255849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9776291743735837E-2</c:v>
                </c:pt>
                <c:pt idx="3">
                  <c:v>0.4217533758039948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7.638420809464145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ntremo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715350000259808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3.8004092083387333E-5</c:v>
                </c:pt>
                <c:pt idx="3">
                  <c:v>0.4088700283669672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1614519833874691E-3</c:v>
                </c:pt>
                <c:pt idx="3">
                  <c:v>0.996838340243620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1614519833874691E-3</c:v>
                </c:pt>
                <c:pt idx="3">
                  <c:v>0.996838340243620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225190923216192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1607734535847149E-3</c:v>
                </c:pt>
                <c:pt idx="3">
                  <c:v>0.3936500737359418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204410617417926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523643919817670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736558119031610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4.037205633115434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49007217559336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23517364122557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559173977151572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126772499257377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4331157249195105E-2</c:v>
                </c:pt>
                <c:pt idx="3">
                  <c:v>0.975667352210091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937021038456817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4327685720530776E-2</c:v>
                </c:pt>
                <c:pt idx="3">
                  <c:v>0.307160999339688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85540690231669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78016137539752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3.4715286643292768E-6</c:v>
                </c:pt>
                <c:pt idx="3">
                  <c:v>0.502780459708692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592181343538861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1607734535847149E-3</c:v>
                </c:pt>
                <c:pt idx="3">
                  <c:v>0.3936500737359418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204410617417926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523643919817670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799859076999343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03794379947783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5152003024068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71734443266597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638801727014875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114962892935704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51882130535129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54633758251371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10317508898749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40659663272917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121405586234327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534759661505258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4.208549500729120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508719191386038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39141814654296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113245757904725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19959468096279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9.569493270692720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10815446549958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56652941048027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747313391154848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8.936354578353822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0104726496276957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596640751966416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6451872914908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1824626927533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39624640002401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8395187708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64302626851865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469451987128903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16390910083898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52516527853758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18598258291864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3194900776830781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371278195280578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226517664242014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125312728633693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81990635012931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960830729772854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535139895538707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15225919026812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390489390964131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611781482740895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1969035214207722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22014403498077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8949094126786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333213881364475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55279576966060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023279279617345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49007217559336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23517364122557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559173977151572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228165134607185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7.148203296867518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66061510200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0561685710746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37541747182613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290772737306611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18431810534078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24232303485827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74363382928485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817086208244905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954413638048885E-3</c:v>
                </c:pt>
                <c:pt idx="3">
                  <c:v>0.995045586361951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951568656680584E-3</c:v>
                </c:pt>
                <c:pt idx="3">
                  <c:v>0.60740150296085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09660963353021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563482367176810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91043163394026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81930690552194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24566995844545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9544738036278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360678718270723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3008046483437867E-2</c:v>
                </c:pt>
                <c:pt idx="3">
                  <c:v>0.9569919535165621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2991702431161752E-2</c:v>
                </c:pt>
                <c:pt idx="3">
                  <c:v>0.5340036733935411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19895556493450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579620835407701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1.6344052276118409E-5</c:v>
                </c:pt>
                <c:pt idx="3">
                  <c:v>0.145202516119598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75674354421164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7051260629890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00955738135513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271788111353934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226196935329396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5613721745144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540933470031746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576732377187406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4331157249195105E-2</c:v>
                </c:pt>
                <c:pt idx="3">
                  <c:v>0.975667352210091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34725579334180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34695224970375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07725815631611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422853380063832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0859767787839838E-2</c:v>
                </c:pt>
                <c:pt idx="3">
                  <c:v>0.9891401666989937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0859767787839838E-2</c:v>
                </c:pt>
                <c:pt idx="3">
                  <c:v>0.4407734306433769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8132105594344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62209572948283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240136731664442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140146996301790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57346189482019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64884809905714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21506298972299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8180301582623563E-2</c:v>
                </c:pt>
                <c:pt idx="3">
                  <c:v>0.9118189691990431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001975352170918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4327685720530776E-2</c:v>
                </c:pt>
                <c:pt idx="3">
                  <c:v>0.307160999339688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85540690231669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78016137539752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3.4715286643292768E-6</c:v>
                </c:pt>
                <c:pt idx="3">
                  <c:v>0.5121309165715511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54123685618136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2">
                  <c:v>8.8180301582623563E-2</c:v>
                </c:pt>
                <c:pt idx="3">
                  <c:v>0.331990005130962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39025121784272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05140833278397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3896206976845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4389736657974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10353675491168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80678688816063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209108028354679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88531941370065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6134030379639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941019726478863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0310324501966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7612487588295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942132287600209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7863959149717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9394875305366822E-3</c:v>
                </c:pt>
                <c:pt idx="3">
                  <c:v>0.9980605124694633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9394875305366822E-3</c:v>
                </c:pt>
                <c:pt idx="3">
                  <c:v>0.3789891944178971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41218856705836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6523655105159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58425777275822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7141906615125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8.62000234807798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62276180226214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104304518814732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7.9777318076716171E-3</c:v>
                </c:pt>
                <c:pt idx="3">
                  <c:v>0.9920222681923284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7.9777318076716171E-3</c:v>
                </c:pt>
                <c:pt idx="3">
                  <c:v>0.422582252348892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178687288999490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0206369526891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813649174165955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5.4508642763262975E-3</c:v>
                </c:pt>
                <c:pt idx="3">
                  <c:v>0.994549017129398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5.4508642763262975E-3</c:v>
                </c:pt>
                <c:pt idx="3">
                  <c:v>0.994549017129398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324483152821131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5.4438182071473327E-3</c:v>
                </c:pt>
                <c:pt idx="3">
                  <c:v>0.4518387663832789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67762031151385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2.736990938167081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7.0460691789642267E-6</c:v>
                </c:pt>
                <c:pt idx="3">
                  <c:v>0.4453193067210992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599072318982173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06867210901656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535407092821767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2.968241411580580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921055808644982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9814295835819224E-2</c:v>
                </c:pt>
                <c:pt idx="3">
                  <c:v>0.9701850975307599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476563220360538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9776291743735837E-2</c:v>
                </c:pt>
                <c:pt idx="3">
                  <c:v>0.4217533758039948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7.638420809464145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ntremo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715350000259808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3.8004092083387333E-5</c:v>
                </c:pt>
                <c:pt idx="3">
                  <c:v>0.4101283814259203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1614519833874691E-3</c:v>
                </c:pt>
                <c:pt idx="3">
                  <c:v>0.996838340243620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03794379947783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5152003024068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71734443266597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638801727014875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842547093468564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1607734535847149E-3</c:v>
                </c:pt>
                <c:pt idx="3">
                  <c:v>0.3936500737359418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204410617417926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523643919817670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874822502006373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04130127492609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49007217559336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23517364122557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559173977151572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326362935076310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4331157249195105E-2</c:v>
                </c:pt>
                <c:pt idx="3">
                  <c:v>0.975667352210091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757996352549133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4327685720530776E-2</c:v>
                </c:pt>
                <c:pt idx="3">
                  <c:v>0.307160999339688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85540690231669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78016137539752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3.4715286643292768E-6</c:v>
                </c:pt>
                <c:pt idx="3">
                  <c:v>0.5145707065677690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8.71734443266597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03794379947783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5152003024068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72438056869635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663636701452400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9.518821305351296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114962892935704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526072161864672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02026542064904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121405586234327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10317508898749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40659663272917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99860218517340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8.348994429879173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848909765554824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508719191386038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39141814654296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113245757904725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255923441613709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189711187394342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10815446549958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56652941048027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56949327069272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149395678211432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02286355530656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596640751966416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6451872914908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1824626927533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8.376393317367079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8395187708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64302626851865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69451987128903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2016390910083898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871114786145622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114962892935704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518821305351296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54633758251371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194900776830781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37127819528057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2226517664242014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207303363646624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6083072977285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53513989553870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2152259190268123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351667539238221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045696590017229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22014403498077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8949094126786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333213881364475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09584183852352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090875868009677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66061510200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0561685710746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37541747182613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199904017500231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474363382928485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18431810534078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24232303485827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274593302175717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542492906069188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954413638048885E-3</c:v>
                </c:pt>
                <c:pt idx="3">
                  <c:v>0.995045586361951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121572724597649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951568656680584E-3</c:v>
                </c:pt>
                <c:pt idx="3">
                  <c:v>0.60740150296085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09660963353021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563482367176810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79827436148049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67055189224631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81930690552194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24566995844545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9544738036278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193623529046091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3008046483437867E-2</c:v>
                </c:pt>
                <c:pt idx="3">
                  <c:v>0.9569919535165621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474430728606346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2991702431161752E-2</c:v>
                </c:pt>
                <c:pt idx="3">
                  <c:v>0.5340036733935411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19895556493450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579620835407701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1.6344052276118409E-5</c:v>
                </c:pt>
                <c:pt idx="3">
                  <c:v>0.1304582088335354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75674354421164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7051260629890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00955738135513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271788111353934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226196935329396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5613721745144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540933470031746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576732377187406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610317508898749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40659663272917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121405586234327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534759661505258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34725579334180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34695224970375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07725815631611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422853380063832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0859767787839838E-2</c:v>
                </c:pt>
                <c:pt idx="3">
                  <c:v>0.9891401666989937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0859767787839838E-2</c:v>
                </c:pt>
                <c:pt idx="3">
                  <c:v>0.4407734306433769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8132105594344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62209572948283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240136731664442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140146996301790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57346189482019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64884809905714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21506298972299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8180301582623563E-2</c:v>
                </c:pt>
                <c:pt idx="3">
                  <c:v>0.9118189691990431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54123685618136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2">
                  <c:v>8.8180301582623563E-2</c:v>
                </c:pt>
                <c:pt idx="3">
                  <c:v>0.331990005130962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39025121784272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05140833278397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3896206976845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4389736657974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10353675491168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80678688816063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209108028354679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88531941370065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6134030379639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941019726478863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0310324501966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7612487588295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942132287600209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7863959149717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9394875305366822E-3</c:v>
                </c:pt>
                <c:pt idx="3">
                  <c:v>0.9980605124694633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9394875305366822E-3</c:v>
                </c:pt>
                <c:pt idx="3">
                  <c:v>0.3789891944178971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41218856705836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6523655105159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58425777275822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7141906615125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8.62000234807798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62276180226214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104304518814732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7.9777318076716171E-3</c:v>
                </c:pt>
                <c:pt idx="3">
                  <c:v>0.9920222681923284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7.9777318076716171E-3</c:v>
                </c:pt>
                <c:pt idx="3">
                  <c:v>0.422582252348892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178687288999490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0206369526891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813649174165955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479585311759224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5.4438182071473327E-3</c:v>
                </c:pt>
                <c:pt idx="3">
                  <c:v>0.4518387663832789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67762031151385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2.736990938167081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7.0460691789642267E-6</c:v>
                </c:pt>
                <c:pt idx="3">
                  <c:v>0.4437682851317182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508719191386038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39141814654296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113245757904725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40814418169191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10815446549958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56652941048027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56949327069272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36836679695086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596640751966416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6451872914908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1824626927533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39925687267364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83951877082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016390910083898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64302626851865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69451987128903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52516527853758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18598258291864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226517664242014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194900776830781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37127819528057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125312728633693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81990635012931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152259190268123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6083072977285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53513989553870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390489390964131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611781482740895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8.740585454256223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22014403498077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8949094126786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333213881364475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667874919327019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414545441061343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66061510200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0561685710746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37541747182613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14932534140377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8.449595488850485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18431810534078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24232303485827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74363382928485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32590253356400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954413638048885E-3</c:v>
                </c:pt>
                <c:pt idx="3">
                  <c:v>0.995045586361951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951568656680584E-3</c:v>
                </c:pt>
                <c:pt idx="3">
                  <c:v>0.60740150296085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09660963353021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563482367176810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91043163394026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863285683688994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06867210901656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5.535407092821767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2.968241411580580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894634472174300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81930690552194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24566995844545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9544738036278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360678718270723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3008046483437867E-2</c:v>
                </c:pt>
                <c:pt idx="3">
                  <c:v>0.9569919535165621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2991702431161752E-2</c:v>
                </c:pt>
                <c:pt idx="3">
                  <c:v>0.5340036733935411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19895556493450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579620835407701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1.6344052276118409E-5</c:v>
                </c:pt>
                <c:pt idx="3">
                  <c:v>0.145202516119598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75674354421164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7051260629890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00955738135513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271788111353934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226196935329396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5613721745144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540933470031746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576732377187406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34725579334180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34695224970375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07725815631611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422853380063832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0859767787839838E-2</c:v>
                </c:pt>
                <c:pt idx="3">
                  <c:v>0.9891401666989937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0859767787839838E-2</c:v>
                </c:pt>
                <c:pt idx="3">
                  <c:v>0.4407734306433769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8132105594344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622095729482834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240136731664442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140146996301790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57346189482019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64884809905714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21506298972299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9814295835819224E-2</c:v>
                </c:pt>
                <c:pt idx="3">
                  <c:v>0.9701850975307599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8180301582623563E-2</c:v>
                </c:pt>
                <c:pt idx="3">
                  <c:v>0.9118189691990431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54123685618136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2">
                  <c:v>8.8180301582623563E-2</c:v>
                </c:pt>
                <c:pt idx="3">
                  <c:v>0.331990005130962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39025121784272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05140833278397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3896206976845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4389736657974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10353675491168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80678688816063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209108028354679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88531941370065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6134030379639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941019726478863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221770435415506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9776291743735837E-2</c:v>
                </c:pt>
                <c:pt idx="3">
                  <c:v>0.4217533758039948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7.638420809464145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ntremo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715350000259808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3.8004092083387333E-5</c:v>
                </c:pt>
                <c:pt idx="3">
                  <c:v>0.4126763092753706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0310324501966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7612487588295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942132287600209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7863959149717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9394875305366822E-3</c:v>
                </c:pt>
                <c:pt idx="3">
                  <c:v>0.9980605124694633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9394875305366822E-3</c:v>
                </c:pt>
                <c:pt idx="3">
                  <c:v>0.3789891944178971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41218856705836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6523655105159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58425777275822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7141906615125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8.62000234807798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62276180226214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104304518814732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7.9777318076716171E-3</c:v>
                </c:pt>
                <c:pt idx="3">
                  <c:v>0.9920222681923284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7.9777318076716171E-3</c:v>
                </c:pt>
                <c:pt idx="3">
                  <c:v>0.422582252348892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178687288999490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0206369526891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813649174165955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281.xml"/><Relationship Id="rId5" Type="http://schemas.openxmlformats.org/officeDocument/2006/relationships/chart" Target="../charts/chart28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287.xml"/><Relationship Id="rId5" Type="http://schemas.openxmlformats.org/officeDocument/2006/relationships/chart" Target="../charts/chart28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1.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290.xml"/><Relationship Id="rId5" Type="http://schemas.openxmlformats.org/officeDocument/2006/relationships/chart" Target="../charts/chart289.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293.xml"/><Relationship Id="rId5" Type="http://schemas.openxmlformats.org/officeDocument/2006/relationships/chart" Target="../charts/chart292.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7.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296.xml"/><Relationship Id="rId5" Type="http://schemas.openxmlformats.org/officeDocument/2006/relationships/chart" Target="../charts/chart29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583873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366785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9634533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259693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664488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181194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09189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5931311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350564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808024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31454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206841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348018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343412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881776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99272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613757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714391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05174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9879949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5012868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181640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2020467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835030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900016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42653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525261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501726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798640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359174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420058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7389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312981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86211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0727586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898945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934962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2326152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296214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295030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300620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9322935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449927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729949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67015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642556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016932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617150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52727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162077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789618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9615493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182599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738878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332895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3839060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072444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818526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485308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636669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337275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663420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9101507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654427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072786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960783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04749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645711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22545520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75145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9381647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25867931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17528698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895474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0391772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6460929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43846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390040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012050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012951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66116105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263858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863651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5737806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0575401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44164537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2293637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882060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56710600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80054499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255174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27114388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9001867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4943424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7944703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7908065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1275097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9863142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142411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6659</Words>
  <Application>Microsoft Office PowerPoint</Application>
  <PresentationFormat>On-screen Show (16:9)</PresentationFormat>
  <Paragraphs>1967</Paragraphs>
  <Slides>9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9</vt:i4>
      </vt:variant>
    </vt:vector>
  </HeadingPairs>
  <TitlesOfParts>
    <vt:vector size="108"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08T12:3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